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</p:sldMasterIdLst>
  <p:notesMasterIdLst>
    <p:notesMasterId r:id="rId10"/>
  </p:notesMasterIdLst>
  <p:sldIdLst>
    <p:sldId id="256" r:id="rId3"/>
    <p:sldId id="628" r:id="rId4"/>
    <p:sldId id="282" r:id="rId5"/>
    <p:sldId id="258" r:id="rId6"/>
    <p:sldId id="637" r:id="rId7"/>
    <p:sldId id="274" r:id="rId8"/>
    <p:sldId id="638" r:id="rId9"/>
  </p:sldIdLst>
  <p:sldSz cx="12192000" cy="6858000"/>
  <p:notesSz cx="6735763" cy="98663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4" d="100"/>
          <a:sy n="64" d="100"/>
        </p:scale>
        <p:origin x="724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I$26</c:f>
              <c:strCache>
                <c:ptCount val="1"/>
                <c:pt idx="0">
                  <c:v>Yes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0.1944444444444443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F4C-4A8F-BE09-F75CFAA6B1EA}"/>
                </c:ext>
              </c:extLst>
            </c:dLbl>
            <c:dLbl>
              <c:idx val="1"/>
              <c:layout>
                <c:manualLayout>
                  <c:x val="-5.0925337632079971E-17"/>
                  <c:y val="0.1805555555555554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F4C-4A8F-BE09-F75CFAA6B1EA}"/>
                </c:ext>
              </c:extLst>
            </c:dLbl>
            <c:dLbl>
              <c:idx val="2"/>
              <c:layout>
                <c:manualLayout>
                  <c:x val="-1.0185067526415994E-16"/>
                  <c:y val="0.2083333333333333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F4C-4A8F-BE09-F75CFAA6B1EA}"/>
                </c:ext>
              </c:extLst>
            </c:dLbl>
            <c:dLbl>
              <c:idx val="3"/>
              <c:layout>
                <c:manualLayout>
                  <c:x val="0"/>
                  <c:y val="0.2037037037037036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F4C-4A8F-BE09-F75CFAA6B1EA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rgbClr val="FF0000"/>
                    </a:solidFill>
                    <a:highlight>
                      <a:srgbClr val="FFFF00"/>
                    </a:highlight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H$27:$H$30</c:f>
              <c:numCache>
                <c:formatCode>General</c:formatCode>
                <c:ptCount val="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</c:numCache>
            </c:numRef>
          </c:cat>
          <c:val>
            <c:numRef>
              <c:f>Sheet1!$I$27:$I$30</c:f>
              <c:numCache>
                <c:formatCode>General</c:formatCode>
                <c:ptCount val="4"/>
                <c:pt idx="0">
                  <c:v>51.7</c:v>
                </c:pt>
                <c:pt idx="1">
                  <c:v>54.8</c:v>
                </c:pt>
                <c:pt idx="2">
                  <c:v>61.9</c:v>
                </c:pt>
                <c:pt idx="3">
                  <c:v>75.5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F4C-4A8F-BE09-F75CFAA6B1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4741392"/>
        <c:axId val="194741952"/>
      </c:barChart>
      <c:catAx>
        <c:axId val="1947413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4741952"/>
        <c:crosses val="autoZero"/>
        <c:auto val="1"/>
        <c:lblAlgn val="ctr"/>
        <c:lblOffset val="100"/>
        <c:noMultiLvlLbl val="0"/>
      </c:catAx>
      <c:valAx>
        <c:axId val="194741952"/>
        <c:scaling>
          <c:orientation val="minMax"/>
          <c:max val="100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4741392"/>
        <c:crosses val="autoZero"/>
        <c:crossBetween val="between"/>
        <c:dispUnits>
          <c:builtInUnit val="hundreds"/>
        </c:dispUnits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0E467C-C30C-4440-9F2B-0E074171849B}" type="datetimeFigureOut">
              <a:rPr lang="en-IN" smtClean="0"/>
              <a:t>25-07-2018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33C13E-9293-4FC2-8997-4D016445889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1043011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33C13E-9293-4FC2-8997-4D0164458891}" type="slidenum">
              <a:rPr lang="en-IN" smtClean="0"/>
              <a:t>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147738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E1BB24-A04F-4DC6-940F-58A04E5CFD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E52A973-769F-4335-9C46-83443F013F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ED12B3-BBE9-4970-9363-65C0B29BDD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B3819-D1C0-4C4D-829F-1E3AAB849D85}" type="datetimeFigureOut">
              <a:rPr lang="en-IN" smtClean="0"/>
              <a:t>25-07-2018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4C5967-AFA3-4F70-8FBB-92C3309AED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ADB1EE-5B49-4A44-B86C-83D6EC41B4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8C46E-DDCC-4F5F-A24C-EDDBA3D5F3B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988500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0BC535-25DC-4A8E-A1C6-A4379EB448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3BE021E-5AFA-43ED-A7F9-FE3353D09D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407C79-61AE-4AC2-9E02-7AEDF2D02C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B3819-D1C0-4C4D-829F-1E3AAB849D85}" type="datetimeFigureOut">
              <a:rPr lang="en-IN" smtClean="0"/>
              <a:t>25-07-2018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E65889-1F1C-426C-8499-4443204D88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C479C0-D70A-4DBD-BA53-EF780495EF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8C46E-DDCC-4F5F-A24C-EDDBA3D5F3B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184830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A3D2BEE-FA58-48E8-A406-23698216214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BE148F1-9C63-47AF-B37D-0A243F1EAFE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B424CB-AD20-4B46-8B9A-0F94D7482A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B3819-D1C0-4C4D-829F-1E3AAB849D85}" type="datetimeFigureOut">
              <a:rPr lang="en-IN" smtClean="0"/>
              <a:t>25-07-2018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EF601D-C16C-4DAD-B955-49CFB83105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73EA1C-A94B-43D3-A389-01FAEB350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8C46E-DDCC-4F5F-A24C-EDDBA3D5F3B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345044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B08E72-35DD-4475-9A90-3571B7005FC8}" type="datetimeFigureOut">
              <a:rPr lang="en-GB"/>
              <a:pPr>
                <a:defRPr/>
              </a:pPr>
              <a:t>25/07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F5DF99-085A-4CF4-87B3-42786172C2E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07803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2368ED-6ED1-4DBE-826D-A19AA2540E18}" type="datetimeFigureOut">
              <a:rPr lang="en-GB"/>
              <a:pPr>
                <a:defRPr/>
              </a:pPr>
              <a:t>25/07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1D8DD0-BFFA-408D-A24D-4E545EC59FF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30873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F5C9A6-FD84-4D20-9BC1-7B267515E5FC}" type="datetimeFigureOut">
              <a:rPr lang="en-GB"/>
              <a:pPr>
                <a:defRPr/>
              </a:pPr>
              <a:t>25/07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7FD39D-CA43-47F7-A910-9C647232261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79692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33BCE6-F3DF-428F-BF17-E913FB30E703}" type="datetimeFigureOut">
              <a:rPr lang="en-GB"/>
              <a:pPr>
                <a:defRPr/>
              </a:pPr>
              <a:t>25/07/2018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FB028A-8651-4414-B308-AAB80DF5DEA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08714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37FD66-F64A-4021-BBF9-0E188C6EB1D8}" type="datetimeFigureOut">
              <a:rPr lang="en-GB"/>
              <a:pPr>
                <a:defRPr/>
              </a:pPr>
              <a:t>25/07/2018</a:t>
            </a:fld>
            <a:endParaRPr lang="en-GB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C3A651-B1A5-4C83-AC85-B4B8B4C2CF9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62227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6E50DA-C7FC-48B9-8C55-F3F87BF25460}" type="datetimeFigureOut">
              <a:rPr lang="en-GB"/>
              <a:pPr>
                <a:defRPr/>
              </a:pPr>
              <a:t>25/07/2018</a:t>
            </a:fld>
            <a:endParaRPr lang="en-GB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0FA106-D263-4D50-B037-4008BE88CD8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65636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C07108-CD05-4EDF-B0F9-473823D37796}" type="datetimeFigureOut">
              <a:rPr lang="en-GB"/>
              <a:pPr>
                <a:defRPr/>
              </a:pPr>
              <a:t>25/07/2018</a:t>
            </a:fld>
            <a:endParaRPr lang="en-GB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41E455-9A8A-4BD0-BC04-2DE65885579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96161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80E434-01C6-45DC-8502-1805E01A59DA}" type="datetimeFigureOut">
              <a:rPr lang="en-GB"/>
              <a:pPr>
                <a:defRPr/>
              </a:pPr>
              <a:t>25/07/2018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3E091E-78C3-4228-B776-AF1D8BBD1AF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4891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1F8223-B805-4AF1-972A-A191D767E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215EC7-8CB2-49E9-8973-93B13F8C71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3EFCD1-E055-4106-AD6B-180DC24F8B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B3819-D1C0-4C4D-829F-1E3AAB849D85}" type="datetimeFigureOut">
              <a:rPr lang="en-IN" smtClean="0"/>
              <a:t>25-07-2018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BE7071-3082-4803-BD10-226FEA777E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E2C1FF-4C85-4C7E-9BC7-1B449B3A50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8C46E-DDCC-4F5F-A24C-EDDBA3D5F3B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604854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5F2577-6A34-4A87-9EDF-2EB088B08C80}" type="datetimeFigureOut">
              <a:rPr lang="en-GB"/>
              <a:pPr>
                <a:defRPr/>
              </a:pPr>
              <a:t>25/07/2018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E99103-0DAF-484F-B226-849F94E4CA1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50371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61137C-B06B-4900-9C1B-40AA74A630F2}" type="datetimeFigureOut">
              <a:rPr lang="en-GB"/>
              <a:pPr>
                <a:defRPr/>
              </a:pPr>
              <a:t>25/07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2574C9-1632-447F-AB55-4DB14FEF7AA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27832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D7E231-BEA1-46C7-BB38-756CC25D9009}" type="datetimeFigureOut">
              <a:rPr lang="en-GB"/>
              <a:pPr>
                <a:defRPr/>
              </a:pPr>
              <a:t>25/07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050C1F-F17A-4240-939E-E8B51A63F23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452687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sz="quarter" idx="1"/>
          </p:nvPr>
        </p:nvSpPr>
        <p:spPr>
          <a:xfrm>
            <a:off x="6197600" y="1219200"/>
            <a:ext cx="5562600" cy="2408238"/>
          </a:xfrm>
        </p:spPr>
        <p:txBody>
          <a:bodyPr/>
          <a:lstStyle/>
          <a:p>
            <a:endParaRPr lang="en-US"/>
          </a:p>
        </p:txBody>
      </p:sp>
      <p:sp>
        <p:nvSpPr>
          <p:cNvPr id="3" name="Rectangle 8"/>
          <p:cNvSpPr>
            <a:spLocks noGrp="1" noChangeArrowheads="1"/>
          </p:cNvSpPr>
          <p:nvPr>
            <p:ph sz="quarter" idx="2"/>
          </p:nvPr>
        </p:nvSpPr>
        <p:spPr>
          <a:xfrm>
            <a:off x="6197600" y="3779839"/>
            <a:ext cx="5562600" cy="2409825"/>
          </a:xfrm>
        </p:spPr>
        <p:txBody>
          <a:bodyPr/>
          <a:lstStyle/>
          <a:p>
            <a:endParaRPr lang="en-US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body" sz="half" idx="3"/>
          </p:nvPr>
        </p:nvSpPr>
        <p:spPr>
          <a:xfrm>
            <a:off x="508000" y="1219201"/>
            <a:ext cx="5562600" cy="4970463"/>
          </a:xfrm>
        </p:spPr>
        <p:txBody>
          <a:bodyPr/>
          <a:lstStyle/>
          <a:p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06400" y="152400"/>
            <a:ext cx="111760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75812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9AD719-65E4-4520-9A67-B72EB88581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A7F04B-4867-4F2C-A4DF-908DB53303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A3A1A5-D1DE-467C-976E-28DA7D613A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B3819-D1C0-4C4D-829F-1E3AAB849D85}" type="datetimeFigureOut">
              <a:rPr lang="en-IN" smtClean="0"/>
              <a:t>25-07-2018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9B72F2-1E8E-4541-BE95-C5201BF757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207C85-CB28-4165-9CAB-1C53C40EAB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8C46E-DDCC-4F5F-A24C-EDDBA3D5F3B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613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3E63C5-1162-45F2-8E63-0F039B6E47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964554-27DD-4BD2-A2DB-87084EC0CB4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9CC6B58-38C9-471E-B9C7-835B2DBCF74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72F63A-AA84-4CEE-A802-A8337B71B7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B3819-D1C0-4C4D-829F-1E3AAB849D85}" type="datetimeFigureOut">
              <a:rPr lang="en-IN" smtClean="0"/>
              <a:t>25-07-2018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27CB27-1743-43DB-95DD-A3D197C8CD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D36E165-13BA-402B-B4C4-24509D1FF3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8C46E-DDCC-4F5F-A24C-EDDBA3D5F3B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783751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0D90A0-16C7-460F-A22D-07FFF4BFE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686078-51FE-4F87-A159-BA286872E0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8F8822-069C-43FE-95BD-4FB0FF6254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1F1F84A-15D0-482C-BDDB-3EAC2861D71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85EB044-5C65-468C-B427-D1AB55CDBAF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88C770E-2F2C-4387-A2DB-A42604815C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B3819-D1C0-4C4D-829F-1E3AAB849D85}" type="datetimeFigureOut">
              <a:rPr lang="en-IN" smtClean="0"/>
              <a:t>25-07-2018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7F78F1D-4CB2-4B4B-8E1B-52E0AC22F3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6CA5E5B-986B-4A2D-A3FE-01D35C5337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8C46E-DDCC-4F5F-A24C-EDDBA3D5F3B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766068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8E27B-391B-42C1-B42D-9BFF1D951D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69C51FA-AE02-4DA1-8D0B-79E2DB6538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B3819-D1C0-4C4D-829F-1E3AAB849D85}" type="datetimeFigureOut">
              <a:rPr lang="en-IN" smtClean="0"/>
              <a:t>25-07-2018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7BC9E4-6C26-4EEC-A5B8-921A8EDFB5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D7C71C-2BE7-4A53-96D0-A7A3DEE06E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8C46E-DDCC-4F5F-A24C-EDDBA3D5F3B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715959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02FC0A-A01F-4C5D-9A0C-7A3AEFB0F6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B3819-D1C0-4C4D-829F-1E3AAB849D85}" type="datetimeFigureOut">
              <a:rPr lang="en-IN" smtClean="0"/>
              <a:t>25-07-2018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F16744-E31F-4DC7-BEAB-06C9F4457D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FE3E18-9C49-473E-BB19-DCB6F0E04F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8C46E-DDCC-4F5F-A24C-EDDBA3D5F3B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600987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48F093-6E89-404A-A945-A1294EA64F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B1966B-3B77-442A-972A-57EB824005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CBF98B9-D0A3-4642-86BB-D2AF9B7CB34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6816938-6232-4DA0-96A3-FD255E4203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B3819-D1C0-4C4D-829F-1E3AAB849D85}" type="datetimeFigureOut">
              <a:rPr lang="en-IN" smtClean="0"/>
              <a:t>25-07-2018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5127A85-61ED-4FEC-9934-A5CFF34EFF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59F6990-7D72-4036-88BB-4412D046A4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8C46E-DDCC-4F5F-A24C-EDDBA3D5F3B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927927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D8A5F2-9A4F-4E67-8E62-5397E44ED6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B2DECE6-845C-440D-9B6F-074D3C5525C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71538A-EA5C-4A58-B469-72FC93179CF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866B27-B41E-49D8-8563-19B52520D2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B3819-D1C0-4C4D-829F-1E3AAB849D85}" type="datetimeFigureOut">
              <a:rPr lang="en-IN" smtClean="0"/>
              <a:t>25-07-2018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4440A2C-CE97-4B3C-8572-155E522F47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D6D812-DB5F-4FAB-86CD-385C418F7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58C46E-DDCC-4F5F-A24C-EDDBA3D5F3B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120395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D542B7A-0DFC-4685-ADAB-B6D0DCC001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E57079-0D99-483E-9DC8-A0D9F80D1F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7AF442-6970-4A2B-A042-F648048E5AF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1B3819-D1C0-4C4D-829F-1E3AAB849D85}" type="datetimeFigureOut">
              <a:rPr lang="en-IN" smtClean="0"/>
              <a:t>25-07-2018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AFBEB7-611A-40D5-8511-AA01794D5B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57FB28-8BD1-4FF3-A14B-1BF1961EB7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58C46E-DDCC-4F5F-A24C-EDDBA3D5F3B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14394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7" name="think-cell Slide" r:id="rId16" imgW="504" imgH="484" progId="TCLayout.ActiveDocument.1">
                  <p:embed/>
                </p:oleObj>
              </mc:Choice>
              <mc:Fallback>
                <p:oleObj name="think-cell Slide" r:id="rId16" imgW="504" imgH="484" progId="TCLayout.ActiveDocument.1">
                  <p:embed/>
                  <p:pic>
                    <p:nvPicPr>
                      <p:cNvPr id="102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GB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A241BF46-742C-4D6C-ABE3-86B234BBB119}" type="datetimeFigureOut">
              <a:rPr lang="en-GB"/>
              <a:pPr>
                <a:defRPr/>
              </a:pPr>
              <a:t>25/07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806982A4-1446-4967-AB63-2E2FD06F364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2991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7B626D9-8F45-43E4-976C-A05A7839C8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53209" y="3602038"/>
            <a:ext cx="9144000" cy="2387600"/>
          </a:xfrm>
        </p:spPr>
        <p:txBody>
          <a:bodyPr>
            <a:noAutofit/>
          </a:bodyPr>
          <a:lstStyle/>
          <a:p>
            <a:pPr>
              <a:lnSpc>
                <a:spcPct val="130000"/>
              </a:lnSpc>
            </a:pPr>
            <a:br>
              <a:rPr lang="en-IN" sz="2400" dirty="0">
                <a:solidFill>
                  <a:srgbClr val="0070C0"/>
                </a:solidFill>
                <a:latin typeface="Franklin Gothic Medium" panose="020B0603020102020204" pitchFamily="34" charset="0"/>
              </a:rPr>
            </a:br>
            <a:r>
              <a:rPr lang="en-IN" sz="23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Association between syndemics (of alcohol and drug use, and violence) and HIV-related sexual risk among MSM in India: Findings from a large-scale national bio-behavioural survey</a:t>
            </a:r>
            <a:br>
              <a:rPr lang="en-IN" sz="24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</a:br>
            <a:br>
              <a:rPr lang="en-IN" sz="1800" b="1" i="1" dirty="0">
                <a:solidFill>
                  <a:srgbClr val="0070C0"/>
                </a:solidFill>
              </a:rPr>
            </a:br>
            <a:br>
              <a:rPr lang="en-IN" sz="2000" b="1" i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b="1" i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katesan </a:t>
            </a:r>
            <a:r>
              <a:rPr lang="en-US" sz="2000" b="1" i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krapani</a:t>
            </a:r>
            <a:r>
              <a:rPr lang="en-US" sz="2000" i="1" baseline="30000" dirty="0" err="1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sz="2000" i="1" baseline="30000" dirty="0"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br>
              <a:rPr lang="en-US" sz="2000" i="1" baseline="30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i="1" dirty="0">
                <a:latin typeface="Arial" panose="020B0604020202020204" pitchFamily="34" charset="0"/>
                <a:cs typeface="Arial" panose="020B0604020202020204" pitchFamily="34" charset="0"/>
              </a:rPr>
              <a:t>PVM </a:t>
            </a:r>
            <a:r>
              <a:rPr lang="en-US" sz="2000" i="1" dirty="0" err="1">
                <a:latin typeface="Arial" panose="020B0604020202020204" pitchFamily="34" charset="0"/>
                <a:cs typeface="Arial" panose="020B0604020202020204" pitchFamily="34" charset="0"/>
              </a:rPr>
              <a:t>Lakshmi</a:t>
            </a:r>
            <a:r>
              <a:rPr lang="en-US" sz="2000" i="1" baseline="30000" dirty="0" err="1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sz="2000" i="1" dirty="0">
                <a:latin typeface="Arial" panose="020B0604020202020204" pitchFamily="34" charset="0"/>
                <a:cs typeface="Arial" panose="020B0604020202020204" pitchFamily="34" charset="0"/>
              </a:rPr>
              <a:t>, Pradeep </a:t>
            </a:r>
            <a:r>
              <a:rPr lang="en-US" sz="2000" i="1" dirty="0" err="1">
                <a:latin typeface="Arial" panose="020B0604020202020204" pitchFamily="34" charset="0"/>
                <a:cs typeface="Arial" panose="020B0604020202020204" pitchFamily="34" charset="0"/>
              </a:rPr>
              <a:t>Kumar</a:t>
            </a:r>
            <a:r>
              <a:rPr lang="en-US" sz="2000" i="1" baseline="30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r>
              <a:rPr lang="en-US" sz="2000" i="1" dirty="0">
                <a:latin typeface="Arial" panose="020B0604020202020204" pitchFamily="34" charset="0"/>
                <a:cs typeface="Arial" panose="020B0604020202020204" pitchFamily="34" charset="0"/>
              </a:rPr>
              <a:t>, Venkatesh </a:t>
            </a:r>
            <a:r>
              <a:rPr lang="en-US" sz="2000" i="1" dirty="0" err="1">
                <a:latin typeface="Arial" panose="020B0604020202020204" pitchFamily="34" charset="0"/>
                <a:cs typeface="Arial" panose="020B0604020202020204" pitchFamily="34" charset="0"/>
              </a:rPr>
              <a:t>Srinivas</a:t>
            </a:r>
            <a:r>
              <a:rPr lang="en-US" sz="2000" i="1" baseline="30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br>
              <a:rPr lang="en-IN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i="1" dirty="0"/>
              <a:t> </a:t>
            </a:r>
            <a:br>
              <a:rPr lang="en-IN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sz="1600" i="1" baseline="30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sz="16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tgraduate</a:t>
            </a: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stitute of Medical Education and Research (PGIMER), India</a:t>
            </a:r>
            <a:br>
              <a:rPr lang="en-IN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i="1" baseline="30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r>
              <a:rPr lang="en-US" sz="16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onal</a:t>
            </a: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IDS Control </a:t>
            </a:r>
            <a:r>
              <a:rPr lang="en-US" sz="16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sation</a:t>
            </a:r>
            <a: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NACO), India</a:t>
            </a:r>
            <a:br>
              <a:rPr lang="en-US" sz="16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b="1" i="1" dirty="0">
                <a:latin typeface="Arial" panose="020B0604020202020204" pitchFamily="34" charset="0"/>
                <a:cs typeface="Arial" panose="020B0604020202020204" pitchFamily="34" charset="0"/>
              </a:rPr>
              <a:t>Oral Poster: </a:t>
            </a:r>
            <a:r>
              <a:rPr lang="en-IN" sz="1400" dirty="0">
                <a:latin typeface="Arial" pitchFamily="34" charset="0"/>
                <a:cs typeface="Arial" pitchFamily="34" charset="0"/>
              </a:rPr>
              <a:t>WEPDC02. July 25, 2018. Session Room: G102-103</a:t>
            </a:r>
            <a:endParaRPr lang="en-IN" sz="1400" i="1" dirty="0"/>
          </a:p>
        </p:txBody>
      </p:sp>
    </p:spTree>
    <p:extLst>
      <p:ext uri="{BB962C8B-B14F-4D97-AF65-F5344CB8AC3E}">
        <p14:creationId xmlns:p14="http://schemas.microsoft.com/office/powerpoint/2010/main" val="25840485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D7711E-393D-48D8-A11A-2F8EF18541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85461" y="854766"/>
            <a:ext cx="10515600" cy="5550798"/>
          </a:xfrm>
        </p:spPr>
        <p:txBody>
          <a:bodyPr/>
          <a:lstStyle/>
          <a:p>
            <a:r>
              <a:rPr lang="en-IN" b="1" dirty="0">
                <a:solidFill>
                  <a:srgbClr val="C00000"/>
                </a:solidFill>
                <a:cs typeface="Arial" panose="020B0604020202020204" pitchFamily="34" charset="0"/>
              </a:rPr>
              <a:t>HIV</a:t>
            </a:r>
            <a:r>
              <a:rPr lang="en-IN" b="1" dirty="0">
                <a:cs typeface="Arial" panose="020B0604020202020204" pitchFamily="34" charset="0"/>
              </a:rPr>
              <a:t> prevalence among </a:t>
            </a:r>
            <a:r>
              <a:rPr lang="en-IN" b="1" dirty="0">
                <a:solidFill>
                  <a:srgbClr val="0070C0"/>
                </a:solidFill>
                <a:cs typeface="Arial" panose="020B0604020202020204" pitchFamily="34" charset="0"/>
              </a:rPr>
              <a:t>MSM</a:t>
            </a:r>
            <a:r>
              <a:rPr lang="en-IN" dirty="0">
                <a:cs typeface="Arial" panose="020B0604020202020204" pitchFamily="34" charset="0"/>
              </a:rPr>
              <a:t> in India </a:t>
            </a:r>
            <a:r>
              <a:rPr lang="en-IN" b="1" dirty="0">
                <a:solidFill>
                  <a:srgbClr val="C00000"/>
                </a:solidFill>
                <a:cs typeface="Arial" panose="020B0604020202020204" pitchFamily="34" charset="0"/>
              </a:rPr>
              <a:t>- 4.3% to 7%</a:t>
            </a:r>
          </a:p>
          <a:p>
            <a:r>
              <a:rPr lang="en-IN" alt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Consistent condom use </a:t>
            </a:r>
            <a:r>
              <a:rPr lang="en-IN" altLang="en-US" sz="24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IN" sz="2400" dirty="0">
                <a:latin typeface="Arial" panose="020B0604020202020204" pitchFamily="34" charset="0"/>
                <a:cs typeface="Arial" panose="020B0604020202020204" pitchFamily="34" charset="0"/>
              </a:rPr>
              <a:t>male partners):  </a:t>
            </a:r>
            <a:r>
              <a:rPr lang="en-IN" sz="2400" i="1" dirty="0">
                <a:latin typeface="Arial" panose="020B0604020202020204" pitchFamily="34" charset="0"/>
                <a:cs typeface="Arial" panose="020B0604020202020204" pitchFamily="34" charset="0"/>
              </a:rPr>
              <a:t>48% to 55% </a:t>
            </a:r>
            <a:r>
              <a:rPr lang="en-IN" sz="1600" i="1" dirty="0">
                <a:latin typeface="Arial" panose="020B0604020202020204" pitchFamily="34" charset="0"/>
                <a:cs typeface="Arial" panose="020B0604020202020204" pitchFamily="34" charset="0"/>
              </a:rPr>
              <a:t>(IBBS, 2015)</a:t>
            </a:r>
          </a:p>
          <a:p>
            <a:pPr>
              <a:buNone/>
              <a:defRPr/>
            </a:pPr>
            <a:endParaRPr lang="en-GB" sz="2400" b="1" dirty="0"/>
          </a:p>
          <a:p>
            <a:pPr>
              <a:buNone/>
              <a:defRPr/>
            </a:pPr>
            <a:r>
              <a:rPr lang="en-GB" sz="3200" b="1" i="1" dirty="0" err="1">
                <a:solidFill>
                  <a:srgbClr val="C00000"/>
                </a:solidFill>
                <a:highlight>
                  <a:srgbClr val="FFFF00"/>
                </a:highlight>
              </a:rPr>
              <a:t>SYN</a:t>
            </a:r>
            <a:r>
              <a:rPr lang="en-GB" sz="3200" i="1" dirty="0" err="1"/>
              <a:t>ergistic</a:t>
            </a:r>
            <a:r>
              <a:rPr lang="en-GB" sz="3200" i="1" dirty="0"/>
              <a:t> </a:t>
            </a:r>
            <a:r>
              <a:rPr lang="en-GB" sz="3200" i="1" dirty="0" err="1"/>
              <a:t>epi</a:t>
            </a:r>
            <a:r>
              <a:rPr lang="en-GB" sz="3200" b="1" i="1" dirty="0" err="1">
                <a:solidFill>
                  <a:srgbClr val="C00000"/>
                </a:solidFill>
                <a:highlight>
                  <a:srgbClr val="FFFF00"/>
                </a:highlight>
              </a:rPr>
              <a:t>DEMICS</a:t>
            </a:r>
            <a:r>
              <a:rPr lang="en-GB" sz="3200" b="1" i="1" dirty="0">
                <a:solidFill>
                  <a:srgbClr val="C00000"/>
                </a:solidFill>
              </a:rPr>
              <a:t> </a:t>
            </a:r>
            <a:r>
              <a:rPr lang="en-GB" sz="2000" dirty="0"/>
              <a:t>(Singer, 1996 &amp; 2013)</a:t>
            </a:r>
            <a:r>
              <a:rPr lang="en-GB" sz="2400" dirty="0"/>
              <a:t>:</a:t>
            </a:r>
            <a:endParaRPr lang="en-GB" sz="2400" b="1" i="1" dirty="0">
              <a:solidFill>
                <a:srgbClr val="C00000"/>
              </a:solidFill>
            </a:endParaRPr>
          </a:p>
          <a:p>
            <a:pPr marL="0" indent="0">
              <a:buNone/>
              <a:defRPr/>
            </a:pPr>
            <a:r>
              <a:rPr lang="en-GB" sz="2400" b="1" dirty="0"/>
              <a:t>1. Co-occurrence </a:t>
            </a:r>
            <a:r>
              <a:rPr lang="en-GB" sz="2400" dirty="0"/>
              <a:t>of psychosocial conditions </a:t>
            </a:r>
          </a:p>
          <a:p>
            <a:pPr marL="0" indent="0">
              <a:buNone/>
              <a:defRPr/>
            </a:pPr>
            <a:r>
              <a:rPr lang="en-GB" sz="2400" dirty="0"/>
              <a:t>2. </a:t>
            </a:r>
            <a:r>
              <a:rPr lang="en-GB" sz="2400" b="1" dirty="0"/>
              <a:t>Synergy</a:t>
            </a:r>
            <a:r>
              <a:rPr lang="en-GB" sz="2400" dirty="0"/>
              <a:t> in increasing a negative outcome (e.g., sexual risk or HIV)</a:t>
            </a:r>
          </a:p>
          <a:p>
            <a:pPr marL="0" indent="0">
              <a:buNone/>
              <a:defRPr/>
            </a:pPr>
            <a:r>
              <a:rPr lang="en-GB" sz="2400" dirty="0"/>
              <a:t>3. </a:t>
            </a:r>
            <a:r>
              <a:rPr lang="en-GB" sz="2400" b="1" dirty="0"/>
              <a:t>Social forces </a:t>
            </a:r>
            <a:r>
              <a:rPr lang="en-GB" sz="2400" i="1" dirty="0"/>
              <a:t>(e.g., Stigma) </a:t>
            </a:r>
            <a:r>
              <a:rPr lang="en-GB" sz="2400" dirty="0"/>
              <a:t>lead to syndemic conditions</a:t>
            </a:r>
          </a:p>
          <a:p>
            <a:pPr marL="0" indent="0">
              <a:buNone/>
              <a:defRPr/>
            </a:pPr>
            <a:endParaRPr lang="en-GB" sz="2400" dirty="0"/>
          </a:p>
          <a:p>
            <a:pPr marL="0" indent="0">
              <a:buNone/>
            </a:pPr>
            <a:r>
              <a:rPr lang="en-IN" b="1" dirty="0">
                <a:solidFill>
                  <a:srgbClr val="0070C0"/>
                </a:solidFill>
              </a:rPr>
              <a:t>Objective:</a:t>
            </a:r>
          </a:p>
          <a:p>
            <a:pPr marL="0" indent="0">
              <a:buNone/>
            </a:pPr>
            <a:r>
              <a:rPr lang="en-IN" dirty="0">
                <a:solidFill>
                  <a:srgbClr val="0070C0"/>
                </a:solidFill>
              </a:rPr>
              <a:t>Whether psychosocial health conditions co-occur?</a:t>
            </a:r>
          </a:p>
          <a:p>
            <a:pPr marL="0" indent="0">
              <a:buNone/>
            </a:pPr>
            <a:r>
              <a:rPr lang="en-IN" dirty="0">
                <a:solidFill>
                  <a:srgbClr val="0070C0"/>
                </a:solidFill>
              </a:rPr>
              <a:t>Whether they synergistically </a:t>
            </a:r>
            <a:r>
              <a:rPr lang="en-IN" dirty="0" err="1">
                <a:solidFill>
                  <a:srgbClr val="0070C0"/>
                </a:solidFill>
              </a:rPr>
              <a:t>increas</a:t>
            </a:r>
            <a:r>
              <a:rPr lang="en-GB" dirty="0">
                <a:solidFill>
                  <a:srgbClr val="0070C0"/>
                </a:solidFill>
              </a:rPr>
              <a:t>e sexual risk?</a:t>
            </a:r>
          </a:p>
          <a:p>
            <a:pPr marL="0" indent="0">
              <a:buNone/>
              <a:defRPr/>
            </a:pPr>
            <a:endParaRPr lang="en-GB" sz="2000" dirty="0"/>
          </a:p>
          <a:p>
            <a:endParaRPr lang="en-IN" sz="2000" i="1" dirty="0">
              <a:cs typeface="Arial" panose="020B0604020202020204" pitchFamily="34" charset="0"/>
            </a:endParaRPr>
          </a:p>
          <a:p>
            <a:endParaRPr lang="en-IN" sz="2000" dirty="0">
              <a:cs typeface="Arial" panose="020B0604020202020204" pitchFamily="34" charset="0"/>
            </a:endParaRPr>
          </a:p>
          <a:p>
            <a:endParaRPr lang="en-IN" sz="2000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625409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>
            <a:extLst>
              <a:ext uri="{FF2B5EF4-FFF2-40B4-BE49-F238E27FC236}">
                <a16:creationId xmlns:a16="http://schemas.microsoft.com/office/drawing/2014/main" id="{0A11BF90-B160-4AD3-B68D-EF299ACE9F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65135" y="446798"/>
            <a:ext cx="8319905" cy="76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-occurrence of three psychosocial health conditions</a:t>
            </a:r>
            <a:r>
              <a:rPr lang="en-US" altLang="en-US" sz="2400" b="1" dirty="0">
                <a:solidFill>
                  <a:srgbClr val="0070C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N=22,297 HIV-neg MSM)</a:t>
            </a:r>
            <a:endParaRPr kumimoji="0" lang="en-US" alt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CABA6B0-0BB9-493C-B4D3-EF202CC48A17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2087217" y="1307836"/>
            <a:ext cx="8398566" cy="76944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D54878B-8DAB-408B-943A-DA94DE29CA73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3619046" y="1868720"/>
            <a:ext cx="5212080" cy="474408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037275-DE02-4230-B2CC-18FB850CBA93}"/>
              </a:ext>
            </a:extLst>
          </p:cNvPr>
          <p:cNvSpPr txBox="1"/>
          <p:nvPr/>
        </p:nvSpPr>
        <p:spPr>
          <a:xfrm>
            <a:off x="4833257" y="2472613"/>
            <a:ext cx="426720" cy="58477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IN" sz="3200" b="1" dirty="0">
                <a:solidFill>
                  <a:srgbClr val="C00000"/>
                </a:solidFill>
              </a:rPr>
              <a:t>V</a:t>
            </a:r>
            <a:endParaRPr lang="en-IN" b="1" dirty="0">
              <a:solidFill>
                <a:srgbClr val="C0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9CF0DDC-D03D-4CB5-88E1-8FE39BB92419}"/>
              </a:ext>
            </a:extLst>
          </p:cNvPr>
          <p:cNvSpPr txBox="1"/>
          <p:nvPr/>
        </p:nvSpPr>
        <p:spPr>
          <a:xfrm>
            <a:off x="7038392" y="2472613"/>
            <a:ext cx="442750" cy="58477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IN" sz="3200" b="1" dirty="0">
                <a:solidFill>
                  <a:srgbClr val="C00000"/>
                </a:solidFill>
              </a:rPr>
              <a:t>D</a:t>
            </a:r>
            <a:endParaRPr lang="en-IN" b="1" dirty="0">
              <a:solidFill>
                <a:srgbClr val="C0000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6D18700-B4DF-4186-89F7-91BF446E11C8}"/>
              </a:ext>
            </a:extLst>
          </p:cNvPr>
          <p:cNvSpPr txBox="1"/>
          <p:nvPr/>
        </p:nvSpPr>
        <p:spPr>
          <a:xfrm>
            <a:off x="6008520" y="4659087"/>
            <a:ext cx="433132" cy="58477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IN" sz="3200" b="1" dirty="0">
                <a:solidFill>
                  <a:srgbClr val="C00000"/>
                </a:solidFill>
              </a:rPr>
              <a:t>A</a:t>
            </a:r>
            <a:endParaRPr lang="en-IN" b="1" dirty="0">
              <a:solidFill>
                <a:srgbClr val="C00000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657AB58-45F2-4205-989A-08F4C99710BF}"/>
              </a:ext>
            </a:extLst>
          </p:cNvPr>
          <p:cNvSpPr txBox="1"/>
          <p:nvPr/>
        </p:nvSpPr>
        <p:spPr>
          <a:xfrm flipH="1">
            <a:off x="1304215" y="2765000"/>
            <a:ext cx="1733385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b="1" dirty="0">
                <a:solidFill>
                  <a:srgbClr val="C00000"/>
                </a:solidFill>
              </a:rPr>
              <a:t>V</a:t>
            </a:r>
            <a:r>
              <a:rPr lang="en-GB" sz="2400" dirty="0"/>
              <a:t>  = </a:t>
            </a:r>
            <a:r>
              <a:rPr lang="en-GB" sz="2400" b="1" dirty="0">
                <a:solidFill>
                  <a:srgbClr val="0070C0"/>
                </a:solidFill>
              </a:rPr>
              <a:t>24%</a:t>
            </a:r>
          </a:p>
          <a:p>
            <a:r>
              <a:rPr lang="en-GB" sz="3200" b="1" dirty="0">
                <a:solidFill>
                  <a:srgbClr val="C00000"/>
                </a:solidFill>
              </a:rPr>
              <a:t>A </a:t>
            </a:r>
            <a:r>
              <a:rPr lang="en-GB" sz="2400" dirty="0"/>
              <a:t> = </a:t>
            </a:r>
            <a:r>
              <a:rPr lang="en-GB" sz="2400" b="1" dirty="0">
                <a:solidFill>
                  <a:srgbClr val="0070C0"/>
                </a:solidFill>
              </a:rPr>
              <a:t>27%</a:t>
            </a:r>
          </a:p>
          <a:p>
            <a:r>
              <a:rPr lang="en-GB" sz="3200" b="1" dirty="0">
                <a:solidFill>
                  <a:srgbClr val="C00000"/>
                </a:solidFill>
              </a:rPr>
              <a:t>D </a:t>
            </a:r>
            <a:r>
              <a:rPr lang="en-GB" sz="2400" dirty="0"/>
              <a:t>= </a:t>
            </a:r>
            <a:r>
              <a:rPr lang="en-GB" sz="2400" b="1" dirty="0">
                <a:solidFill>
                  <a:srgbClr val="0070C0"/>
                </a:solidFill>
              </a:rPr>
              <a:t>11%</a:t>
            </a:r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962362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46223"/>
          </a:xfrm>
        </p:spPr>
        <p:txBody>
          <a:bodyPr>
            <a:noAutofit/>
          </a:bodyPr>
          <a:lstStyle/>
          <a:p>
            <a:pPr algn="ctr"/>
            <a:r>
              <a:rPr lang="en-IN" sz="3200" b="1" dirty="0">
                <a:solidFill>
                  <a:srgbClr val="0070C0"/>
                </a:solidFill>
              </a:rPr>
              <a:t>As the number of conditions increases, sexual risk increase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09331566"/>
              </p:ext>
            </p:extLst>
          </p:nvPr>
        </p:nvGraphicFramePr>
        <p:xfrm>
          <a:off x="3438514" y="1517291"/>
          <a:ext cx="7047914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775DE99C-A076-40B9-9DE3-B1A000D1D382}"/>
              </a:ext>
            </a:extLst>
          </p:cNvPr>
          <p:cNvSpPr txBox="1"/>
          <p:nvPr/>
        </p:nvSpPr>
        <p:spPr>
          <a:xfrm>
            <a:off x="946645" y="2828835"/>
            <a:ext cx="27025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onsistent condom u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2400" b="1" dirty="0">
                <a:solidFill>
                  <a:srgbClr val="FF0000"/>
                </a:solidFill>
                <a:latin typeface="Calibri" panose="020F0502020204030204"/>
              </a:rPr>
              <a:t>with male partners</a:t>
            </a:r>
            <a:endParaRPr kumimoji="0" lang="en-IN" sz="1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63796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5A3E427-9952-41D4-B9C2-19B4D739DB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30606" y="215005"/>
            <a:ext cx="6821976" cy="663406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7B0E9F8-54D8-4DC6-923D-0B7649E950FF}"/>
              </a:ext>
            </a:extLst>
          </p:cNvPr>
          <p:cNvSpPr txBox="1"/>
          <p:nvPr/>
        </p:nvSpPr>
        <p:spPr>
          <a:xfrm>
            <a:off x="137025" y="2833581"/>
            <a:ext cx="469872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ect of psychosocial conditions on </a:t>
            </a:r>
          </a:p>
          <a:p>
            <a:r>
              <a:rPr lang="en-US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nsistent condom use (male partners)</a:t>
            </a:r>
          </a:p>
          <a:p>
            <a:endParaRPr lang="en-US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38869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5E3AA4-9325-43C7-8ED0-DB62610262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9052" y="646043"/>
            <a:ext cx="10515600" cy="5764696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endParaRPr lang="en-IN" sz="3600" b="1" dirty="0">
              <a:solidFill>
                <a:srgbClr val="C00000"/>
              </a:solidFill>
            </a:endParaRPr>
          </a:p>
          <a:p>
            <a:pPr marL="0" indent="0" algn="ctr">
              <a:buNone/>
            </a:pPr>
            <a:r>
              <a:rPr lang="en-IN" sz="3600" b="1" dirty="0">
                <a:solidFill>
                  <a:srgbClr val="C00000"/>
                </a:solidFill>
              </a:rPr>
              <a:t>ASSOCIATIONS WITH SEXUAL RISK</a:t>
            </a:r>
          </a:p>
          <a:p>
            <a:pPr marL="0" indent="0" algn="ctr">
              <a:buNone/>
            </a:pPr>
            <a:endParaRPr lang="en-IN" sz="3600" b="1" dirty="0">
              <a:solidFill>
                <a:srgbClr val="C00000"/>
              </a:solidFill>
            </a:endParaRPr>
          </a:p>
          <a:p>
            <a:pPr marL="0" indent="0">
              <a:buNone/>
            </a:pPr>
            <a:r>
              <a:rPr lang="en-GB" sz="3600" b="1" dirty="0">
                <a:solidFill>
                  <a:schemeClr val="accent5">
                    <a:lumMod val="75000"/>
                  </a:schemeClr>
                </a:solidFill>
              </a:rPr>
              <a:t>Independent effects: </a:t>
            </a:r>
            <a:r>
              <a:rPr lang="en-GB" sz="3600" b="1" dirty="0">
                <a:solidFill>
                  <a:srgbClr val="C00000"/>
                </a:solidFill>
              </a:rPr>
              <a:t>V</a:t>
            </a:r>
            <a:r>
              <a:rPr lang="en-GB" sz="3600" b="1" dirty="0">
                <a:solidFill>
                  <a:srgbClr val="0070C0"/>
                </a:solidFill>
              </a:rPr>
              <a:t> </a:t>
            </a:r>
            <a:r>
              <a:rPr lang="en-GB" sz="3600" dirty="0"/>
              <a:t>(</a:t>
            </a:r>
            <a:r>
              <a:rPr lang="en-GB" sz="3600" dirty="0" err="1"/>
              <a:t>aOR</a:t>
            </a:r>
            <a:r>
              <a:rPr lang="en-GB" sz="3600" dirty="0"/>
              <a:t>=1.51, p &lt; .001); </a:t>
            </a:r>
            <a:r>
              <a:rPr lang="en-GB" sz="3600" b="1" dirty="0">
                <a:solidFill>
                  <a:srgbClr val="C00000"/>
                </a:solidFill>
              </a:rPr>
              <a:t>D</a:t>
            </a:r>
            <a:r>
              <a:rPr lang="en-GB" sz="3600" b="1" dirty="0">
                <a:solidFill>
                  <a:srgbClr val="0070C0"/>
                </a:solidFill>
              </a:rPr>
              <a:t> </a:t>
            </a:r>
            <a:r>
              <a:rPr lang="en-GB" sz="3600" dirty="0"/>
              <a:t>(</a:t>
            </a:r>
            <a:r>
              <a:rPr lang="en-GB" sz="3600" dirty="0" err="1"/>
              <a:t>aOR</a:t>
            </a:r>
            <a:r>
              <a:rPr lang="en-GB" sz="3600" dirty="0"/>
              <a:t>=1.38, p &lt; .001)</a:t>
            </a:r>
          </a:p>
          <a:p>
            <a:endParaRPr lang="en-GB" sz="3600" dirty="0"/>
          </a:p>
          <a:p>
            <a:pPr marL="0" indent="0">
              <a:buNone/>
            </a:pPr>
            <a:r>
              <a:rPr lang="en-GB" sz="3600" b="1" dirty="0">
                <a:solidFill>
                  <a:schemeClr val="accent5">
                    <a:lumMod val="75000"/>
                  </a:schemeClr>
                </a:solidFill>
                <a:highlight>
                  <a:srgbClr val="FFFF00"/>
                </a:highlight>
              </a:rPr>
              <a:t>Evidence for Synergy</a:t>
            </a:r>
          </a:p>
          <a:p>
            <a:pPr lvl="1"/>
            <a:r>
              <a:rPr lang="en-GB" sz="3600" dirty="0">
                <a:solidFill>
                  <a:schemeClr val="accent5">
                    <a:lumMod val="75000"/>
                  </a:schemeClr>
                </a:solidFill>
              </a:rPr>
              <a:t>Significant three-way interaction:  </a:t>
            </a:r>
            <a:r>
              <a:rPr lang="en-GB" sz="3600" b="1" dirty="0">
                <a:solidFill>
                  <a:srgbClr val="C00000"/>
                </a:solidFill>
              </a:rPr>
              <a:t>V</a:t>
            </a:r>
            <a:r>
              <a:rPr lang="en-GB" sz="3600" b="1" dirty="0">
                <a:solidFill>
                  <a:srgbClr val="0070C0"/>
                </a:solidFill>
              </a:rPr>
              <a:t> </a:t>
            </a:r>
            <a:r>
              <a:rPr lang="en-GB" sz="3600" dirty="0">
                <a:solidFill>
                  <a:srgbClr val="0070C0"/>
                </a:solidFill>
              </a:rPr>
              <a:t>x</a:t>
            </a:r>
            <a:r>
              <a:rPr lang="en-GB" sz="3600" b="1" dirty="0">
                <a:solidFill>
                  <a:srgbClr val="0070C0"/>
                </a:solidFill>
              </a:rPr>
              <a:t> </a:t>
            </a:r>
            <a:r>
              <a:rPr lang="en-GB" sz="3600" b="1" dirty="0">
                <a:solidFill>
                  <a:srgbClr val="C00000"/>
                </a:solidFill>
              </a:rPr>
              <a:t>D</a:t>
            </a:r>
            <a:r>
              <a:rPr lang="en-GB" sz="3600" b="1" dirty="0">
                <a:solidFill>
                  <a:srgbClr val="0070C0"/>
                </a:solidFill>
              </a:rPr>
              <a:t> </a:t>
            </a:r>
            <a:r>
              <a:rPr lang="en-GB" sz="3600" dirty="0">
                <a:solidFill>
                  <a:srgbClr val="0070C0"/>
                </a:solidFill>
              </a:rPr>
              <a:t>x</a:t>
            </a:r>
            <a:r>
              <a:rPr lang="en-GB" sz="3600" b="1" dirty="0">
                <a:solidFill>
                  <a:srgbClr val="0070C0"/>
                </a:solidFill>
              </a:rPr>
              <a:t> </a:t>
            </a:r>
            <a:r>
              <a:rPr lang="en-GB" sz="3600" b="1" dirty="0">
                <a:solidFill>
                  <a:srgbClr val="C00000"/>
                </a:solidFill>
              </a:rPr>
              <a:t>A</a:t>
            </a:r>
            <a:r>
              <a:rPr lang="en-GB" sz="3600" b="1" dirty="0">
                <a:solidFill>
                  <a:srgbClr val="0070C0"/>
                </a:solidFill>
              </a:rPr>
              <a:t> </a:t>
            </a:r>
            <a:r>
              <a:rPr lang="en-GB" sz="3100" dirty="0"/>
              <a:t>(</a:t>
            </a:r>
            <a:r>
              <a:rPr lang="en-GB" sz="3100" dirty="0" err="1"/>
              <a:t>aOR</a:t>
            </a:r>
            <a:r>
              <a:rPr lang="en-GB" sz="3100" dirty="0"/>
              <a:t> = 1.56, p=.03) </a:t>
            </a:r>
            <a:endParaRPr lang="en-GB" sz="3600" dirty="0"/>
          </a:p>
          <a:p>
            <a:pPr lvl="1"/>
            <a:r>
              <a:rPr lang="en-GB" sz="3600" dirty="0">
                <a:solidFill>
                  <a:schemeClr val="accent5">
                    <a:lumMod val="75000"/>
                  </a:schemeClr>
                </a:solidFill>
              </a:rPr>
              <a:t>Significant</a:t>
            </a:r>
            <a:r>
              <a:rPr lang="en-GB" sz="3600" dirty="0">
                <a:solidFill>
                  <a:srgbClr val="0070C0"/>
                </a:solidFill>
              </a:rPr>
              <a:t> two-way interaction:  </a:t>
            </a:r>
            <a:r>
              <a:rPr lang="en-GB" sz="3600" b="1" dirty="0">
                <a:solidFill>
                  <a:srgbClr val="C00000"/>
                </a:solidFill>
              </a:rPr>
              <a:t>V </a:t>
            </a:r>
            <a:r>
              <a:rPr lang="en-GB" sz="3600" dirty="0">
                <a:solidFill>
                  <a:srgbClr val="0070C0"/>
                </a:solidFill>
              </a:rPr>
              <a:t>x</a:t>
            </a:r>
            <a:r>
              <a:rPr lang="en-GB" sz="3600" b="1" dirty="0">
                <a:solidFill>
                  <a:srgbClr val="0070C0"/>
                </a:solidFill>
              </a:rPr>
              <a:t> </a:t>
            </a:r>
            <a:r>
              <a:rPr lang="en-GB" sz="3600" b="1" dirty="0">
                <a:solidFill>
                  <a:srgbClr val="C00000"/>
                </a:solidFill>
              </a:rPr>
              <a:t>A</a:t>
            </a:r>
            <a:r>
              <a:rPr lang="en-GB" sz="3600" b="1" dirty="0">
                <a:solidFill>
                  <a:srgbClr val="0070C0"/>
                </a:solidFill>
              </a:rPr>
              <a:t> </a:t>
            </a:r>
            <a:r>
              <a:rPr lang="en-GB" sz="3100" dirty="0"/>
              <a:t>(</a:t>
            </a:r>
            <a:r>
              <a:rPr lang="en-GB" sz="3100" dirty="0" err="1"/>
              <a:t>aOR</a:t>
            </a:r>
            <a:r>
              <a:rPr lang="en-GB" sz="3100" dirty="0"/>
              <a:t> = 1.18, p=.03).</a:t>
            </a:r>
          </a:p>
          <a:p>
            <a:pPr marL="457200" lvl="1" indent="0">
              <a:buNone/>
            </a:pPr>
            <a:endParaRPr lang="en-GB" dirty="0"/>
          </a:p>
          <a:p>
            <a:pPr marL="457200" lvl="1" indent="0">
              <a:buNone/>
            </a:pPr>
            <a:endParaRPr lang="en-GB" sz="2600" dirty="0"/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88646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1BF816-E89B-4345-9D1D-7560FF11D3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145623"/>
          </a:xfrm>
        </p:spPr>
        <p:txBody>
          <a:bodyPr>
            <a:normAutofit fontScale="90000"/>
          </a:bodyPr>
          <a:lstStyle/>
          <a:p>
            <a:pPr algn="ctr"/>
            <a:r>
              <a:rPr lang="en-GB" b="1" dirty="0">
                <a:solidFill>
                  <a:srgbClr val="C00000"/>
                </a:solidFill>
              </a:rPr>
              <a:t>IMPLICATIONS</a:t>
            </a:r>
            <a:br>
              <a:rPr lang="en-GB" b="1" dirty="0">
                <a:solidFill>
                  <a:srgbClr val="C00000"/>
                </a:solidFill>
              </a:rPr>
            </a:b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DAE224-A25C-403C-9A75-ADDE77863D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10748"/>
            <a:ext cx="10515600" cy="4666215"/>
          </a:xfrm>
        </p:spPr>
        <p:txBody>
          <a:bodyPr>
            <a:normAutofit fontScale="92500"/>
          </a:bodyPr>
          <a:lstStyle/>
          <a:p>
            <a:r>
              <a:rPr lang="en-GB" sz="3400" b="1" dirty="0">
                <a:solidFill>
                  <a:srgbClr val="0070C0"/>
                </a:solidFill>
              </a:rPr>
              <a:t>Need to address </a:t>
            </a:r>
            <a:r>
              <a:rPr lang="en-GB" sz="3400" b="1" dirty="0">
                <a:solidFill>
                  <a:srgbClr val="C00000"/>
                </a:solidFill>
              </a:rPr>
              <a:t>Violence victimisation, and alcohol and drug use</a:t>
            </a:r>
            <a:r>
              <a:rPr lang="en-GB" sz="3400" b="1" dirty="0">
                <a:solidFill>
                  <a:srgbClr val="0070C0"/>
                </a:solidFill>
              </a:rPr>
              <a:t> to substantially reduce HIV risk among MSM</a:t>
            </a:r>
          </a:p>
          <a:p>
            <a:endParaRPr lang="en-GB" sz="3400" dirty="0">
              <a:highlight>
                <a:srgbClr val="FFFF00"/>
              </a:highlight>
            </a:endParaRPr>
          </a:p>
          <a:p>
            <a:r>
              <a:rPr lang="en-GB" sz="3400" dirty="0"/>
              <a:t>What can be done?</a:t>
            </a:r>
          </a:p>
          <a:p>
            <a:pPr lvl="1"/>
            <a:r>
              <a:rPr lang="en-GB" sz="3400" dirty="0">
                <a:solidFill>
                  <a:srgbClr val="0070C0"/>
                </a:solidFill>
              </a:rPr>
              <a:t>Screen and manage syndemic conditions</a:t>
            </a:r>
          </a:p>
          <a:p>
            <a:pPr lvl="1"/>
            <a:r>
              <a:rPr lang="en-GB" sz="3400" dirty="0">
                <a:solidFill>
                  <a:srgbClr val="0070C0"/>
                </a:solidFill>
              </a:rPr>
              <a:t>Prevent syndemics (e.g., Stigma reduction programmes)</a:t>
            </a:r>
          </a:p>
          <a:p>
            <a:pPr marL="0" indent="0">
              <a:buNone/>
            </a:pPr>
            <a:endParaRPr lang="en-GB" sz="3100" b="1" dirty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IN" sz="3100" i="1" dirty="0">
                <a:solidFill>
                  <a:srgbClr val="0070C0"/>
                </a:solidFill>
              </a:rPr>
              <a:t>Future: </a:t>
            </a:r>
            <a:r>
              <a:rPr lang="en-IN" sz="3100" dirty="0"/>
              <a:t>1) Identify other syndemic conditions; 2) Test and evaluate syndemically oriented HIV interventions</a:t>
            </a:r>
            <a:endParaRPr lang="en-GB" dirty="0"/>
          </a:p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853370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06</TotalTime>
  <Words>278</Words>
  <Application>Microsoft Office PowerPoint</Application>
  <PresentationFormat>Widescreen</PresentationFormat>
  <Paragraphs>50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Calibri Light</vt:lpstr>
      <vt:lpstr>Franklin Gothic Medium</vt:lpstr>
      <vt:lpstr>Office Theme</vt:lpstr>
      <vt:lpstr>1_Office Theme</vt:lpstr>
      <vt:lpstr>think-cell Slide</vt:lpstr>
      <vt:lpstr> Association between syndemics (of alcohol and drug use, and violence) and HIV-related sexual risk among MSM in India: Findings from a large-scale national bio-behavioural survey   Venkatesan Chakrapania* PVM Lakshmia, Pradeep Kumarb, Venkatesh Srinivasb   aPostgraduate Institute of Medical Education and Research (PGIMER), India bNational AIDS Control Organisation (NACO), India  Oral Poster: WEPDC02. July 25, 2018. Session Room: G102-103</vt:lpstr>
      <vt:lpstr>PowerPoint Presentation</vt:lpstr>
      <vt:lpstr>PowerPoint Presentation</vt:lpstr>
      <vt:lpstr>As the number of conditions increases, sexual risk increases</vt:lpstr>
      <vt:lpstr>PowerPoint Presentation</vt:lpstr>
      <vt:lpstr>PowerPoint Presentation</vt:lpstr>
      <vt:lpstr>IMPLICATION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syndemic of violence victimisation, drug use and alcohol use, and HIV-related sexual risk among MSM in India  Dr. Venkatesan Chakrapani, M.D.</dc:title>
  <dc:creator>Dr. Venkatesan Chakrapani</dc:creator>
  <cp:lastModifiedBy>Dr. Venkatesan Chakrapani</cp:lastModifiedBy>
  <cp:revision>121</cp:revision>
  <cp:lastPrinted>2018-07-17T14:51:18Z</cp:lastPrinted>
  <dcterms:created xsi:type="dcterms:W3CDTF">2018-07-15T11:15:01Z</dcterms:created>
  <dcterms:modified xsi:type="dcterms:W3CDTF">2018-07-25T07:00:17Z</dcterms:modified>
</cp:coreProperties>
</file>